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  <p:sldMasterId id="2147483711" r:id="rId2"/>
    <p:sldMasterId id="2147483747" r:id="rId3"/>
    <p:sldMasterId id="2147483752" r:id="rId4"/>
    <p:sldMasterId id="2147483754" r:id="rId5"/>
  </p:sldMasterIdLst>
  <p:notesMasterIdLst>
    <p:notesMasterId r:id="rId18"/>
  </p:notesMasterIdLst>
  <p:handoutMasterIdLst>
    <p:handoutMasterId r:id="rId19"/>
  </p:handoutMasterIdLst>
  <p:sldIdLst>
    <p:sldId id="760" r:id="rId6"/>
    <p:sldId id="898" r:id="rId7"/>
    <p:sldId id="904" r:id="rId8"/>
    <p:sldId id="907" r:id="rId9"/>
    <p:sldId id="899" r:id="rId10"/>
    <p:sldId id="900" r:id="rId11"/>
    <p:sldId id="901" r:id="rId12"/>
    <p:sldId id="902" r:id="rId13"/>
    <p:sldId id="903" r:id="rId14"/>
    <p:sldId id="905" r:id="rId15"/>
    <p:sldId id="906" r:id="rId16"/>
    <p:sldId id="908" r:id="rId17"/>
  </p:sldIdLst>
  <p:sldSz cx="9144000" cy="6858000" type="screen4x3"/>
  <p:notesSz cx="7099300" cy="10234613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968F9F6-B09A-4A2F-95B9-E45DCDA6D54B}">
          <p14:sldIdLst>
            <p14:sldId id="760"/>
            <p14:sldId id="898"/>
            <p14:sldId id="904"/>
            <p14:sldId id="907"/>
            <p14:sldId id="899"/>
            <p14:sldId id="900"/>
            <p14:sldId id="901"/>
            <p14:sldId id="902"/>
            <p14:sldId id="903"/>
            <p14:sldId id="905"/>
            <p14:sldId id="906"/>
            <p14:sldId id="9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207">
          <p15:clr>
            <a:srgbClr val="A4A3A4"/>
          </p15:clr>
        </p15:guide>
        <p15:guide id="2" pos="567">
          <p15:clr>
            <a:srgbClr val="A4A3A4"/>
          </p15:clr>
        </p15:guide>
        <p15:guide id="3" pos="5057">
          <p15:clr>
            <a:srgbClr val="A4A3A4"/>
          </p15:clr>
        </p15:guide>
        <p15:guide id="4" pos="2880">
          <p15:clr>
            <a:srgbClr val="A4A3A4"/>
          </p15:clr>
        </p15:guide>
        <p15:guide id="5" pos="1519">
          <p15:clr>
            <a:srgbClr val="A4A3A4"/>
          </p15:clr>
        </p15:guide>
        <p15:guide id="6" pos="43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iter, Christoph" initials="RC" lastIdx="2" clrIdx="0">
    <p:extLst>
      <p:ext uri="{19B8F6BF-5375-455C-9EA6-DF929625EA0E}">
        <p15:presenceInfo xmlns:p15="http://schemas.microsoft.com/office/powerpoint/2012/main" userId="S-1-5-21-1499261727-55176102-3529509929-2316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FD7"/>
    <a:srgbClr val="9DC8E7"/>
    <a:srgbClr val="009644"/>
    <a:srgbClr val="291FF1"/>
    <a:srgbClr val="6FB8E5"/>
    <a:srgbClr val="418FC9"/>
    <a:srgbClr val="ECECEC"/>
    <a:srgbClr val="000000"/>
    <a:srgbClr val="FFA3D1"/>
    <a:srgbClr val="FF8B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1" autoAdjust="0"/>
    <p:restoredTop sz="90447" autoAdjust="0"/>
  </p:normalViewPr>
  <p:slideViewPr>
    <p:cSldViewPr>
      <p:cViewPr varScale="1">
        <p:scale>
          <a:sx n="104" d="100"/>
          <a:sy n="104" d="100"/>
        </p:scale>
        <p:origin x="2052" y="108"/>
      </p:cViewPr>
      <p:guideLst>
        <p:guide orient="horz" pos="1207"/>
        <p:guide pos="567"/>
        <p:guide pos="5057"/>
        <p:guide pos="2880"/>
        <p:guide pos="1519"/>
        <p:guide pos="4332"/>
      </p:guideLst>
    </p:cSldViewPr>
  </p:slideViewPr>
  <p:outlineViewPr>
    <p:cViewPr>
      <p:scale>
        <a:sx n="25" d="100"/>
        <a:sy n="25" d="100"/>
      </p:scale>
      <p:origin x="0" y="31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7494"/>
    </p:cViewPr>
  </p:sorterViewPr>
  <p:notesViewPr>
    <p:cSldViewPr>
      <p:cViewPr varScale="1">
        <p:scale>
          <a:sx n="51" d="100"/>
          <a:sy n="51" d="100"/>
        </p:scale>
        <p:origin x="2928" y="78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3048000" cy="47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74" tIns="47488" rIns="94974" bIns="47488" numCol="1" anchor="t" anchorCtr="0" compatLnSpc="1">
            <a:prstTxWarp prst="textNoShape">
              <a:avLst/>
            </a:prstTxWarp>
          </a:bodyPr>
          <a:lstStyle>
            <a:lvl1pPr defTabSz="949703">
              <a:defRPr sz="1100"/>
            </a:lvl1pPr>
          </a:lstStyle>
          <a:p>
            <a:endParaRPr lang="de-DE"/>
          </a:p>
        </p:txBody>
      </p:sp>
      <p:sp>
        <p:nvSpPr>
          <p:cNvPr id="1464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11614" y="3"/>
            <a:ext cx="3048000" cy="47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74" tIns="47488" rIns="94974" bIns="47488" numCol="1" anchor="t" anchorCtr="0" compatLnSpc="1">
            <a:prstTxWarp prst="textNoShape">
              <a:avLst/>
            </a:prstTxWarp>
          </a:bodyPr>
          <a:lstStyle>
            <a:lvl1pPr algn="r" defTabSz="949703">
              <a:defRPr sz="1100"/>
            </a:lvl1pPr>
          </a:lstStyle>
          <a:p>
            <a:endParaRPr lang="de-DE"/>
          </a:p>
        </p:txBody>
      </p:sp>
      <p:sp>
        <p:nvSpPr>
          <p:cNvPr id="1464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721854"/>
            <a:ext cx="3048000" cy="47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74" tIns="47488" rIns="94974" bIns="47488" numCol="1" anchor="b" anchorCtr="0" compatLnSpc="1">
            <a:prstTxWarp prst="textNoShape">
              <a:avLst/>
            </a:prstTxWarp>
          </a:bodyPr>
          <a:lstStyle>
            <a:lvl1pPr defTabSz="949703">
              <a:defRPr sz="1100"/>
            </a:lvl1pPr>
          </a:lstStyle>
          <a:p>
            <a:endParaRPr lang="de-DE"/>
          </a:p>
        </p:txBody>
      </p:sp>
      <p:sp>
        <p:nvSpPr>
          <p:cNvPr id="1464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11614" y="9721854"/>
            <a:ext cx="3048000" cy="47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74" tIns="47488" rIns="94974" bIns="47488" numCol="1" anchor="b" anchorCtr="0" compatLnSpc="1">
            <a:prstTxWarp prst="textNoShape">
              <a:avLst/>
            </a:prstTxWarp>
          </a:bodyPr>
          <a:lstStyle>
            <a:lvl1pPr algn="r" defTabSz="949703">
              <a:defRPr sz="1100"/>
            </a:lvl1pPr>
          </a:lstStyle>
          <a:p>
            <a:fld id="{F2935B5E-ABDE-4AE2-A6EB-407011843A3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31373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4"/>
            <a:ext cx="3076576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74" tIns="47488" rIns="94974" bIns="47488" numCol="1" anchor="t" anchorCtr="0" compatLnSpc="1">
            <a:prstTxWarp prst="textNoShape">
              <a:avLst/>
            </a:prstTxWarp>
          </a:bodyPr>
          <a:lstStyle>
            <a:lvl1pPr defTabSz="949703">
              <a:defRPr sz="1100"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7" y="4"/>
            <a:ext cx="3076576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74" tIns="47488" rIns="94974" bIns="47488" numCol="1" anchor="t" anchorCtr="0" compatLnSpc="1">
            <a:prstTxWarp prst="textNoShape">
              <a:avLst/>
            </a:prstTxWarp>
          </a:bodyPr>
          <a:lstStyle>
            <a:lvl1pPr algn="r" defTabSz="949703">
              <a:defRPr sz="1100"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6763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151" y="4860926"/>
            <a:ext cx="5206999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74" tIns="47488" rIns="94974" bIns="474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Formate des Vorlagentextes zu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442"/>
            <a:ext cx="3076576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74" tIns="47488" rIns="94974" bIns="47488" numCol="1" anchor="b" anchorCtr="0" compatLnSpc="1">
            <a:prstTxWarp prst="textNoShape">
              <a:avLst/>
            </a:prstTxWarp>
          </a:bodyPr>
          <a:lstStyle>
            <a:lvl1pPr defTabSz="949703">
              <a:defRPr sz="1100"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7" y="9723442"/>
            <a:ext cx="3076576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74" tIns="47488" rIns="94974" bIns="47488" numCol="1" anchor="b" anchorCtr="0" compatLnSpc="1">
            <a:prstTxWarp prst="textNoShape">
              <a:avLst/>
            </a:prstTxWarp>
          </a:bodyPr>
          <a:lstStyle>
            <a:lvl1pPr algn="r" defTabSz="949703">
              <a:defRPr sz="1100">
                <a:latin typeface="Times New Roman" pitchFamily="18" charset="0"/>
              </a:defRPr>
            </a:lvl1pPr>
          </a:lstStyle>
          <a:p>
            <a:fld id="{DBC15C61-2840-4ADF-9DA0-E994D5DA8A07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132417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2907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83885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28482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598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87077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0506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99978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y Greyscale ?</a:t>
            </a:r>
          </a:p>
          <a:p>
            <a:r>
              <a:rPr lang="en-US" dirty="0" smtClean="0"/>
              <a:t>What</a:t>
            </a:r>
            <a:r>
              <a:rPr lang="en-US" baseline="0" dirty="0" smtClean="0"/>
              <a:t> does Kernel Size mean 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13804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is high and low Threshold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2941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51409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94266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5618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883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653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571473" y="1572580"/>
            <a:ext cx="8064528" cy="360040"/>
          </a:xfrm>
          <a:prstGeom prst="rect">
            <a:avLst/>
          </a:prstGeom>
        </p:spPr>
        <p:txBody>
          <a:bodyPr/>
          <a:lstStyle>
            <a:lvl1pPr marL="85725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752600" indent="0">
              <a:buNone/>
              <a:defRPr sz="1800"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71473" y="914400"/>
            <a:ext cx="8064528" cy="609600"/>
          </a:xfrm>
          <a:prstGeom prst="rect">
            <a:avLst/>
          </a:prstGeom>
        </p:spPr>
        <p:txBody>
          <a:bodyPr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571473" y="2060848"/>
            <a:ext cx="8064528" cy="411135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857946" y="6400800"/>
            <a:ext cx="1944688" cy="3048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50782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857946" y="6400800"/>
            <a:ext cx="1944688" cy="3048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34984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857946" y="6400800"/>
            <a:ext cx="1944688" cy="3048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idx="1" hasCustomPrompt="1"/>
          </p:nvPr>
        </p:nvSpPr>
        <p:spPr>
          <a:xfrm>
            <a:off x="571473" y="928670"/>
            <a:ext cx="8064528" cy="524353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198554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571473" y="914400"/>
            <a:ext cx="8064528" cy="609600"/>
          </a:xfrm>
        </p:spPr>
        <p:txBody>
          <a:bodyPr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571473" y="1828800"/>
            <a:ext cx="8064528" cy="43434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857946" y="6400800"/>
            <a:ext cx="1944688" cy="3048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34405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mmenta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504825" y="469032"/>
            <a:ext cx="8125200" cy="5768280"/>
          </a:xfrm>
          <a:prstGeom prst="rect">
            <a:avLst/>
          </a:prstGeom>
        </p:spPr>
        <p:txBody>
          <a:bodyPr/>
          <a:lstStyle>
            <a:lvl1pPr marL="0" algn="l">
              <a:buNone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Kommentare werden aus dem VL-Skript </a:t>
            </a:r>
            <a:r>
              <a:rPr lang="de-DE" dirty="0" err="1"/>
              <a:t>rauskopiert</a:t>
            </a:r>
            <a:r>
              <a:rPr lang="de-DE" dirty="0"/>
              <a:t>…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504825" y="161254"/>
            <a:ext cx="812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entarfoli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825" y="6460280"/>
            <a:ext cx="8170861" cy="31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796978" y="6469380"/>
            <a:ext cx="1944688" cy="3048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73580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621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35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252002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42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11609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wmf"/><Relationship Id="rId7" Type="http://schemas.openxmlformats.org/officeDocument/2006/relationships/image" Target="../media/image5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w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1.w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320401" y="314325"/>
            <a:ext cx="7699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00"/>
              </a:lnSpc>
            </a:pPr>
            <a:r>
              <a:rPr lang="de-DE" sz="8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e </a:t>
            </a:r>
            <a:r>
              <a:rPr lang="de-DE" sz="8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8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tomotive Technology</a:t>
            </a:r>
            <a:endParaRPr lang="de-DE" sz="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800"/>
              </a:lnSpc>
            </a:pPr>
            <a:r>
              <a:rPr lang="de-DE" sz="8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ulty</a:t>
            </a:r>
            <a:r>
              <a:rPr lang="de-DE" sz="8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8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8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8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hanical</a:t>
            </a:r>
            <a:r>
              <a:rPr lang="de-DE" sz="8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gineering</a:t>
            </a:r>
            <a:endParaRPr lang="de-DE" sz="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800"/>
              </a:lnSpc>
            </a:pPr>
            <a:r>
              <a:rPr lang="de-DE" sz="8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University </a:t>
            </a:r>
            <a:r>
              <a:rPr lang="de-DE" sz="8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8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8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h</a:t>
            </a:r>
            <a:endParaRPr lang="de-DE" sz="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el 1"/>
          <p:cNvSpPr txBox="1">
            <a:spLocks/>
          </p:cNvSpPr>
          <p:nvPr userDrawn="1"/>
        </p:nvSpPr>
        <p:spPr>
          <a:xfrm>
            <a:off x="319090" y="1206000"/>
            <a:ext cx="8717406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1" baseline="0" noProof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pPr algn="l" eaLnBrk="0" hangingPunct="0"/>
            <a:r>
              <a:rPr lang="de-DE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ificial</a:t>
            </a:r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ce</a:t>
            </a:r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Automotive Technology</a:t>
            </a:r>
            <a:endParaRPr lang="de-DE" sz="2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Inhaltsplatzhalter 2"/>
          <p:cNvSpPr txBox="1">
            <a:spLocks/>
          </p:cNvSpPr>
          <p:nvPr userDrawn="1"/>
        </p:nvSpPr>
        <p:spPr>
          <a:xfrm>
            <a:off x="317764" y="1866979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  <a:latin typeface="+mn-lt"/>
              </a:defRPr>
            </a:lvl1pPr>
            <a:lvl2pPr marL="176213" indent="-176213" eaLnBrk="0" hangingPunct="0">
              <a:lnSpc>
                <a:spcPct val="100000"/>
              </a:lnSpc>
              <a:buFont typeface="Arial" charset="0"/>
              <a:buChar char="•"/>
              <a:defRPr lang="de-DE" sz="1600" noProof="0" dirty="0" smtClean="0">
                <a:latin typeface="+mn-lt"/>
              </a:defRPr>
            </a:lvl2pPr>
            <a:lvl3pPr marL="360363" indent="-184150" eaLnBrk="0" hangingPunct="0">
              <a:lnSpc>
                <a:spcPct val="125000"/>
              </a:lnSpc>
              <a:buFont typeface="Symbol" pitchFamily="18" charset="2"/>
              <a:buChar char="-"/>
              <a:defRPr sz="1400">
                <a:latin typeface="+mn-lt"/>
              </a:defRPr>
            </a:lvl3pPr>
            <a:lvl4pPr marL="538163" indent="-177800" eaLnBrk="0" hangingPunct="0">
              <a:lnSpc>
                <a:spcPct val="125000"/>
              </a:lnSpc>
              <a:buFont typeface="Symbol" pitchFamily="18" charset="2"/>
              <a:buChar char="-"/>
              <a:defRPr sz="1400">
                <a:latin typeface="+mn-lt"/>
              </a:defRPr>
            </a:lvl4pPr>
            <a:lvl5pPr marL="714375" indent="-176213" eaLnBrk="0" hangingPunct="0">
              <a:lnSpc>
                <a:spcPct val="125000"/>
              </a:lnSpc>
              <a:buFont typeface="Symbol" pitchFamily="18" charset="2"/>
              <a:buChar char="-"/>
              <a:defRPr sz="1400"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/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Johannes Betz / Prof. Dr.-Ing. Markus Lienkamp / Prof. Dr.-Ing. Boris Lohman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594" y="2937006"/>
            <a:ext cx="3097902" cy="3097902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68" r="-2646" b="25709"/>
          <a:stretch/>
        </p:blipFill>
        <p:spPr>
          <a:xfrm>
            <a:off x="2051720" y="2481400"/>
            <a:ext cx="1542890" cy="771445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594" y="2854333"/>
            <a:ext cx="972465" cy="972465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6243" y="5377160"/>
            <a:ext cx="1315496" cy="1315496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5213393"/>
            <a:ext cx="1305041" cy="1305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582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4"/>
          <p:cNvSpPr txBox="1">
            <a:spLocks noChangeArrowheads="1"/>
          </p:cNvSpPr>
          <p:nvPr userDrawn="1"/>
        </p:nvSpPr>
        <p:spPr bwMode="auto">
          <a:xfrm>
            <a:off x="3517873" y="899428"/>
            <a:ext cx="21082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de-DE" sz="18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re</a:t>
            </a:r>
            <a:r>
              <a:rPr lang="de-DE" sz="1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8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endParaRPr lang="de-DE" sz="1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Gerade Verbindung 5"/>
          <p:cNvCxnSpPr/>
          <p:nvPr userDrawn="1"/>
        </p:nvCxnSpPr>
        <p:spPr bwMode="auto">
          <a:xfrm>
            <a:off x="1937308" y="1268760"/>
            <a:ext cx="5269384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75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0"/>
            </a:gradFill>
            <a:headEnd type="none" w="med" len="med"/>
            <a:tailEnd type="none" w="med" len="med"/>
          </a:ln>
          <a:effectLst>
            <a:outerShdw blurRad="40000" dist="25400" dir="5400000" sx="101000" sy="101000" rotWithShape="0">
              <a:schemeClr val="accent1">
                <a:lumMod val="40000"/>
                <a:lumOff val="60000"/>
                <a:alpha val="56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892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71473" y="914400"/>
            <a:ext cx="806452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939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473" y="1828800"/>
            <a:ext cx="8064528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857946" y="6400800"/>
            <a:ext cx="1944688" cy="3048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Bild 6" descr="20150416 tum logo blau png final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750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51" r:id="rId2"/>
    <p:sldLayoutId id="2147483745" r:id="rId3"/>
    <p:sldLayoutId id="2147483744" r:id="rId4"/>
    <p:sldLayoutId id="2147483750" r:id="rId5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15621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1981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438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82572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33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Box 4"/>
          <p:cNvSpPr txBox="1">
            <a:spLocks noChangeArrowheads="1"/>
          </p:cNvSpPr>
          <p:nvPr userDrawn="1"/>
        </p:nvSpPr>
        <p:spPr bwMode="auto">
          <a:xfrm>
            <a:off x="3517872" y="899428"/>
            <a:ext cx="21082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de-DE" sz="18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re</a:t>
            </a:r>
            <a:r>
              <a:rPr lang="de-DE" sz="1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8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endParaRPr lang="de-DE" sz="1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Gerade Verbindung 5"/>
          <p:cNvCxnSpPr/>
          <p:nvPr userDrawn="1"/>
        </p:nvCxnSpPr>
        <p:spPr bwMode="auto">
          <a:xfrm>
            <a:off x="1937308" y="1268760"/>
            <a:ext cx="5269384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75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0"/>
            </a:gradFill>
            <a:headEnd type="none" w="med" len="med"/>
            <a:tailEnd type="none" w="med" len="med"/>
          </a:ln>
          <a:effectLst>
            <a:outerShdw blurRad="40000" dist="25400" dir="5400000" sx="101000" sy="101000" rotWithShape="0">
              <a:schemeClr val="accent1">
                <a:lumMod val="40000"/>
                <a:lumOff val="60000"/>
                <a:alpha val="56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6" descr="20150416 tum logo blau png final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316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40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Box 4"/>
          <p:cNvSpPr txBox="1">
            <a:spLocks noChangeArrowheads="1"/>
          </p:cNvSpPr>
          <p:nvPr userDrawn="1"/>
        </p:nvSpPr>
        <p:spPr bwMode="auto">
          <a:xfrm>
            <a:off x="3517872" y="899428"/>
            <a:ext cx="21082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de-DE" sz="18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re</a:t>
            </a:r>
            <a:r>
              <a:rPr lang="de-DE" sz="1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8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endParaRPr lang="de-DE" sz="1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Gerade Verbindung 5"/>
          <p:cNvCxnSpPr/>
          <p:nvPr userDrawn="1"/>
        </p:nvCxnSpPr>
        <p:spPr bwMode="auto">
          <a:xfrm>
            <a:off x="1937308" y="1268760"/>
            <a:ext cx="5269384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75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0"/>
            </a:gradFill>
            <a:headEnd type="none" w="med" len="med"/>
            <a:tailEnd type="none" w="med" len="med"/>
          </a:ln>
          <a:effectLst>
            <a:outerShdw blurRad="40000" dist="25400" dir="5400000" sx="101000" sy="101000" rotWithShape="0">
              <a:schemeClr val="accent1">
                <a:lumMod val="40000"/>
                <a:lumOff val="60000"/>
                <a:alpha val="56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6" descr="20150416 tum logo blau png final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401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3379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7. </a:t>
            </a:r>
            <a:r>
              <a:rPr lang="de-DE" dirty="0" err="1" smtClean="0"/>
              <a:t>Apply</a:t>
            </a:r>
            <a:r>
              <a:rPr lang="de-DE" dirty="0" smtClean="0"/>
              <a:t> </a:t>
            </a:r>
            <a:r>
              <a:rPr lang="de-DE" dirty="0" err="1" smtClean="0"/>
              <a:t>lane</a:t>
            </a:r>
            <a:r>
              <a:rPr lang="de-DE" dirty="0" smtClean="0"/>
              <a:t> </a:t>
            </a:r>
            <a:r>
              <a:rPr lang="de-DE" dirty="0" err="1" smtClean="0"/>
              <a:t>line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vido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Untertitel 7"/>
          <p:cNvSpPr txBox="1">
            <a:spLocks/>
          </p:cNvSpPr>
          <p:nvPr/>
        </p:nvSpPr>
        <p:spPr bwMode="auto">
          <a:xfrm>
            <a:off x="571473" y="1625588"/>
            <a:ext cx="7888959" cy="4248472"/>
          </a:xfrm>
          <a:prstGeom prst="rect">
            <a:avLst/>
          </a:prstGeom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ow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same not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nly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endParaRPr lang="en-US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4504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8. </a:t>
            </a:r>
            <a:r>
              <a:rPr lang="de-DE" dirty="0" err="1" smtClean="0"/>
              <a:t>Conclus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Untertitel 7"/>
          <p:cNvSpPr txBox="1">
            <a:spLocks/>
          </p:cNvSpPr>
          <p:nvPr/>
        </p:nvSpPr>
        <p:spPr bwMode="auto">
          <a:xfrm>
            <a:off x="659257" y="1979531"/>
            <a:ext cx="7888959" cy="4248472"/>
          </a:xfrm>
          <a:prstGeom prst="rect">
            <a:avLst/>
          </a:prstGeom>
          <a:ln w="25400" cap="flat" cmpd="sng" algn="ctr">
            <a:solidFill>
              <a:schemeClr val="tx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881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9. </a:t>
            </a:r>
            <a:r>
              <a:rPr lang="de-DE" dirty="0" err="1" smtClean="0"/>
              <a:t>Improvement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Untertitel 7"/>
          <p:cNvSpPr txBox="1">
            <a:spLocks/>
          </p:cNvSpPr>
          <p:nvPr/>
        </p:nvSpPr>
        <p:spPr bwMode="auto">
          <a:xfrm>
            <a:off x="659257" y="1979531"/>
            <a:ext cx="7888959" cy="4248472"/>
          </a:xfrm>
          <a:prstGeom prst="rect">
            <a:avLst/>
          </a:prstGeom>
          <a:ln w="25400" cap="flat" cmpd="sng" algn="ctr">
            <a:solidFill>
              <a:schemeClr val="tx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52704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Untertitel 7"/>
          <p:cNvSpPr txBox="1">
            <a:spLocks/>
          </p:cNvSpPr>
          <p:nvPr/>
        </p:nvSpPr>
        <p:spPr bwMode="auto">
          <a:xfrm>
            <a:off x="571473" y="1625588"/>
            <a:ext cx="7888959" cy="4248472"/>
          </a:xfrm>
          <a:prstGeom prst="rect">
            <a:avLst/>
          </a:prstGeom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actic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ssion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will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fi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pecial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puter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ision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ipeline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oal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ipeli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tec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ane</a:t>
            </a:r>
            <a:r>
              <a:rPr lang="de-DE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nes</a:t>
            </a:r>
            <a:r>
              <a:rPr lang="de-DE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ideo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different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check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f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ork</a:t>
            </a:r>
            <a:r>
              <a:rPr lang="de-DE" kern="0" dirty="0" err="1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rrectly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ply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CV Knowhow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ecture</a:t>
            </a:r>
            <a:endParaRPr lang="en-US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actice Session 2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4457710"/>
            <a:ext cx="3632315" cy="204317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0851" y="4451450"/>
            <a:ext cx="3654570" cy="2055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5704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0. </a:t>
            </a:r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ipelin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Untertitel 7"/>
          <p:cNvSpPr txBox="1">
            <a:spLocks/>
          </p:cNvSpPr>
          <p:nvPr/>
        </p:nvSpPr>
        <p:spPr bwMode="auto">
          <a:xfrm>
            <a:off x="571473" y="1625588"/>
            <a:ext cx="7888959" cy="4248472"/>
          </a:xfrm>
          <a:prstGeom prst="rect">
            <a:avLst/>
          </a:prstGeom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First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all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fi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ipeli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cess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plitt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d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w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rts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 function which is called “</a:t>
            </a:r>
            <a:r>
              <a:rPr lang="en-US" sz="18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cess_image</a:t>
            </a:r>
            <a:r>
              <a:rPr lang="en-US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 main software part which is loading the imag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addition, for a better overview we are moving all functions for processing the image to a library called “functions.py”</a:t>
            </a:r>
            <a:endParaRPr lang="en-US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4852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 Load an </a:t>
            </a:r>
            <a:r>
              <a:rPr lang="de-DE" dirty="0" err="1" smtClean="0"/>
              <a:t>imag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Untertitel 7"/>
          <p:cNvSpPr txBox="1">
            <a:spLocks/>
          </p:cNvSpPr>
          <p:nvPr/>
        </p:nvSpPr>
        <p:spPr bwMode="auto">
          <a:xfrm>
            <a:off x="571473" y="1625588"/>
            <a:ext cx="7888959" cy="4248472"/>
          </a:xfrm>
          <a:prstGeom prst="rect">
            <a:avLst/>
          </a:prstGeom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cond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ep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ad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fi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older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lled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„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est_image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older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egrat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uch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ant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all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older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fter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ll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ach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in a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op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cess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ach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in a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oor</a:t>
            </a:r>
            <a:r>
              <a:rPr lang="de-DE" kern="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loop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US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683914" y="3140968"/>
            <a:ext cx="3064423" cy="246221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0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ages</a:t>
            </a: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0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s.listdir</a:t>
            </a: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000" b="0" i="0" u="none" strike="noStrike" cap="none" normalizeH="0" baseline="0" dirty="0" err="1" smtClean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est_images</a:t>
            </a: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rgbClr val="6A8759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"</a:t>
            </a: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4690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. </a:t>
            </a:r>
            <a:r>
              <a:rPr lang="de-DE" dirty="0" err="1" smtClean="0"/>
              <a:t>Apply</a:t>
            </a:r>
            <a:r>
              <a:rPr lang="de-DE" dirty="0" smtClean="0"/>
              <a:t> </a:t>
            </a:r>
            <a:r>
              <a:rPr lang="de-DE" dirty="0" err="1" smtClean="0"/>
              <a:t>Gaussian</a:t>
            </a:r>
            <a:r>
              <a:rPr lang="de-DE" dirty="0" smtClean="0"/>
              <a:t> </a:t>
            </a:r>
            <a:r>
              <a:rPr lang="de-DE" dirty="0" err="1" smtClean="0"/>
              <a:t>Blu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Untertitel 7"/>
          <p:cNvSpPr txBox="1">
            <a:spLocks/>
          </p:cNvSpPr>
          <p:nvPr/>
        </p:nvSpPr>
        <p:spPr bwMode="auto">
          <a:xfrm>
            <a:off x="593574" y="1412776"/>
            <a:ext cx="7888959" cy="4248472"/>
          </a:xfrm>
          <a:prstGeom prst="rect">
            <a:avLst/>
          </a:prstGeom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irs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cess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t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cale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ransfer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eyscale</a:t>
            </a: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aussin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lur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de-DE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de-DE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de-DE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uassian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lur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unction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plied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penCV</a:t>
            </a: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174197" y="3537012"/>
            <a:ext cx="7150893" cy="1538883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shape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age.shape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ray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s.grayscale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age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8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lur_gray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8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s.gaussian_blur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8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ray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800" b="0" i="0" u="none" strike="noStrike" cap="none" normalizeH="0" baseline="0" dirty="0" smtClean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5)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solidFill>
                <a:srgbClr val="A9B7C6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398895" y="5661558"/>
            <a:ext cx="6926195" cy="30777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v2.GaussianBlur(img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kernel_size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kernel_size)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03490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3. </a:t>
            </a:r>
            <a:r>
              <a:rPr lang="de-DE" dirty="0" err="1" smtClean="0"/>
              <a:t>Perform</a:t>
            </a:r>
            <a:r>
              <a:rPr lang="de-DE" dirty="0" smtClean="0"/>
              <a:t> </a:t>
            </a:r>
            <a:r>
              <a:rPr lang="de-DE" dirty="0" err="1" smtClean="0"/>
              <a:t>Canny</a:t>
            </a:r>
            <a:r>
              <a:rPr lang="de-DE" dirty="0" smtClean="0"/>
              <a:t> Edge </a:t>
            </a:r>
            <a:r>
              <a:rPr lang="de-DE" dirty="0" err="1" smtClean="0"/>
              <a:t>Dete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Untertitel 7"/>
          <p:cNvSpPr txBox="1">
            <a:spLocks/>
          </p:cNvSpPr>
          <p:nvPr/>
        </p:nvSpPr>
        <p:spPr bwMode="auto">
          <a:xfrm>
            <a:off x="593574" y="1412776"/>
            <a:ext cx="7888959" cy="4248472"/>
          </a:xfrm>
          <a:prstGeom prst="rect">
            <a:avLst/>
          </a:prstGeom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irs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cess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nny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dge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tection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de-DE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nny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Edge 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plied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penCV</a:t>
            </a: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spcBef>
                <a:spcPts val="0"/>
              </a:spcBef>
              <a:spcAft>
                <a:spcPts val="600"/>
              </a:spcAft>
              <a:buNone/>
            </a:pP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437336" y="2498661"/>
            <a:ext cx="5447325" cy="30777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nny_blur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kumimoji="0" lang="de-DE" altLang="de-DE" sz="14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unctions.canny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4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lur_gray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00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00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413375" y="3392101"/>
            <a:ext cx="5769528" cy="30777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 err="1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v2.Canny(</a:t>
            </a:r>
            <a:r>
              <a:rPr kumimoji="0" lang="de-DE" altLang="de-DE" sz="14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g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ow_threshold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dirty="0" err="1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igh_threshold</a:t>
            </a:r>
            <a:r>
              <a:rPr kumimoji="0" lang="de-DE" altLang="de-DE" sz="1400" b="0" i="0" u="none" strike="noStrike" cap="none" normalizeH="0" baseline="0" dirty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1911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4. </a:t>
            </a:r>
            <a:r>
              <a:rPr lang="de-DE" dirty="0" err="1" smtClean="0"/>
              <a:t>Define</a:t>
            </a:r>
            <a:r>
              <a:rPr lang="de-DE" dirty="0" smtClean="0"/>
              <a:t> a </a:t>
            </a:r>
            <a:r>
              <a:rPr lang="de-DE" dirty="0" err="1" smtClean="0"/>
              <a:t>reg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teres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Untertitel 7"/>
          <p:cNvSpPr txBox="1">
            <a:spLocks/>
          </p:cNvSpPr>
          <p:nvPr/>
        </p:nvSpPr>
        <p:spPr bwMode="auto">
          <a:xfrm>
            <a:off x="593574" y="1412776"/>
            <a:ext cx="7888959" cy="4248472"/>
          </a:xfrm>
          <a:prstGeom prst="rect">
            <a:avLst/>
          </a:prstGeom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ird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ep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find a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gion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eres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wer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putational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ad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ha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uld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ood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gion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eres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icture</a:t>
            </a:r>
            <a:r>
              <a:rPr lang="de-DE" kern="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spcBef>
                <a:spcPts val="0"/>
              </a:spcBef>
              <a:spcAft>
                <a:spcPts val="600"/>
              </a:spcAft>
              <a:buNone/>
            </a:pPr>
            <a:endParaRPr lang="de-DE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3020712"/>
            <a:ext cx="3249878" cy="182805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655" y="3020712"/>
            <a:ext cx="3249878" cy="1828056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705" y="4966333"/>
            <a:ext cx="3249878" cy="1828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1213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5. </a:t>
            </a:r>
            <a:r>
              <a:rPr lang="de-DE" dirty="0" err="1" smtClean="0"/>
              <a:t>Retrieve</a:t>
            </a:r>
            <a:r>
              <a:rPr lang="de-DE" dirty="0" smtClean="0"/>
              <a:t> Hough </a:t>
            </a:r>
            <a:r>
              <a:rPr lang="de-DE" dirty="0" err="1" smtClean="0"/>
              <a:t>lin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Untertitel 7"/>
          <p:cNvSpPr txBox="1">
            <a:spLocks/>
          </p:cNvSpPr>
          <p:nvPr/>
        </p:nvSpPr>
        <p:spPr bwMode="auto">
          <a:xfrm>
            <a:off x="571473" y="1625588"/>
            <a:ext cx="7888959" cy="4248472"/>
          </a:xfrm>
          <a:prstGeom prst="rect">
            <a:avLst/>
          </a:prstGeom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last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cess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ep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ply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ough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tection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find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int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hich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ne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The Hough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lgorithm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eed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put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rameters</a:t>
            </a:r>
            <a:endParaRPr lang="en-US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338609" y="2708920"/>
            <a:ext cx="8776762" cy="307777"/>
          </a:xfrm>
          <a:prstGeom prst="rect">
            <a:avLst/>
          </a:prstGeom>
          <a:solidFill>
            <a:srgbClr val="2B2B2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ough_picture = functions.hough_lines(region_masked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p.pi /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180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0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50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CC783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6897BB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30</a:t>
            </a:r>
            <a:r>
              <a:rPr kumimoji="0" lang="de-DE" altLang="de-DE" sz="1400" b="0" i="0" u="none" strike="noStrike" cap="none" normalizeH="0" baseline="0" smtClean="0">
                <a:ln>
                  <a:noFill/>
                </a:ln>
                <a:solidFill>
                  <a:srgbClr val="A9B7C6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kumimoji="0" lang="de-DE" altLang="de-DE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6880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71474" y="3749824"/>
            <a:ext cx="83563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6. </a:t>
            </a:r>
            <a:r>
              <a:rPr lang="de-DE" dirty="0" err="1" smtClean="0"/>
              <a:t>Apply</a:t>
            </a:r>
            <a:r>
              <a:rPr lang="de-DE" dirty="0" smtClean="0"/>
              <a:t> </a:t>
            </a:r>
            <a:r>
              <a:rPr lang="de-DE" dirty="0" err="1" smtClean="0"/>
              <a:t>lane</a:t>
            </a:r>
            <a:r>
              <a:rPr lang="de-DE" dirty="0" smtClean="0"/>
              <a:t> </a:t>
            </a:r>
            <a:r>
              <a:rPr lang="de-DE" dirty="0" err="1" smtClean="0"/>
              <a:t>line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ag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F34935-8E69-4657-8C0C-1744CA283D5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Untertitel 7"/>
          <p:cNvSpPr txBox="1">
            <a:spLocks/>
          </p:cNvSpPr>
          <p:nvPr/>
        </p:nvSpPr>
        <p:spPr bwMode="auto">
          <a:xfrm>
            <a:off x="571473" y="1625588"/>
            <a:ext cx="7888959" cy="4248472"/>
          </a:xfrm>
          <a:prstGeom prst="rect">
            <a:avLst/>
          </a:prstGeom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last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ep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ply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nes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endParaRPr lang="de-DE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bining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original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ough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ne</a:t>
            </a:r>
            <a:r>
              <a:rPr lang="de-DE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age</a:t>
            </a:r>
            <a:endParaRPr lang="en-US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448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cb&quot; g=&quot;ed&quot; b=&quot;7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rtfoli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FD2CF4EA-3B83-419D-9DA4-C571353E0FAB}"/>
    </a:ext>
  </a:extLst>
</a:theme>
</file>

<file path=ppt/theme/theme2.xml><?xml version="1.0" encoding="utf-8"?>
<a:theme xmlns:a="http://schemas.openxmlformats.org/drawingml/2006/main" name="Vorlesungsübersich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C1E289B4-62E7-4BEC-94C9-DDB5FCFDF11A}"/>
    </a:ext>
  </a:extLst>
</a:theme>
</file>

<file path=ppt/theme/theme3.xml><?xml version="1.0" encoding="utf-8"?>
<a:theme xmlns:a="http://schemas.openxmlformats.org/drawingml/2006/main" name="Inhaltsfolie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5" id="{0BF1F7E3-EAC1-45B2-B1E6-C698CE6DF712}" vid="{BF8845A3-C29B-4B97-AD79-00F780550F2C}"/>
    </a:ext>
  </a:extLst>
</a:theme>
</file>

<file path=ppt/theme/theme4.xml><?xml version="1.0" encoding="utf-8"?>
<a:theme xmlns:a="http://schemas.openxmlformats.org/drawingml/2006/main" name="1_Vorlesungsübersich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C1E289B4-62E7-4BEC-94C9-DDB5FCFDF11A}"/>
    </a:ext>
  </a:extLst>
</a:theme>
</file>

<file path=ppt/theme/theme5.xml><?xml version="1.0" encoding="utf-8"?>
<a:theme xmlns:a="http://schemas.openxmlformats.org/drawingml/2006/main" name="2_Vorlesungsübersich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C1E289B4-62E7-4BEC-94C9-DDB5FCFDF11A}"/>
    </a:ext>
  </a:extLst>
</a:theme>
</file>

<file path=ppt/theme/theme6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_Auslegung_E-Fahrzeuge</Template>
  <TotalTime>0</TotalTime>
  <Words>468</Words>
  <Application>Microsoft Office PowerPoint</Application>
  <PresentationFormat>Bildschirmpräsentation (4:3)</PresentationFormat>
  <Paragraphs>88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3" baseType="lpstr">
      <vt:lpstr>Arial</vt:lpstr>
      <vt:lpstr>Courier New</vt:lpstr>
      <vt:lpstr>Times New Roman</vt:lpstr>
      <vt:lpstr>TUM Neue Helvetica 75 Bold</vt:lpstr>
      <vt:lpstr>Wingdings</vt:lpstr>
      <vt:lpstr>Startfolie</vt:lpstr>
      <vt:lpstr>Vorlesungsübersicht</vt:lpstr>
      <vt:lpstr>Inhaltsfolien</vt:lpstr>
      <vt:lpstr>1_Vorlesungsübersicht</vt:lpstr>
      <vt:lpstr>2_Vorlesungsübersicht</vt:lpstr>
      <vt:lpstr>think-cell Folie</vt:lpstr>
      <vt:lpstr>PowerPoint-Präsentation</vt:lpstr>
      <vt:lpstr>Practice Session 2</vt:lpstr>
      <vt:lpstr>0. Define the pipeline</vt:lpstr>
      <vt:lpstr>1. Load an image</vt:lpstr>
      <vt:lpstr>2. Apply Gaussian Blur</vt:lpstr>
      <vt:lpstr>3. Perform Canny Edge Detection</vt:lpstr>
      <vt:lpstr>4. Define a region of interest</vt:lpstr>
      <vt:lpstr>5. Retrieve Hough lines</vt:lpstr>
      <vt:lpstr>6. Apply lane lines to the image</vt:lpstr>
      <vt:lpstr>7. Apply lane lines to vidoes</vt:lpstr>
      <vt:lpstr>8. Conclusion</vt:lpstr>
      <vt:lpstr>9. Improvements</vt:lpstr>
    </vt:vector>
  </TitlesOfParts>
  <Company>Leibniz-Rechenzentru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ohr, Stephan</dc:creator>
  <cp:lastModifiedBy>Betz, Johannes</cp:lastModifiedBy>
  <cp:revision>262</cp:revision>
  <cp:lastPrinted>2018-07-30T12:52:00Z</cp:lastPrinted>
  <dcterms:created xsi:type="dcterms:W3CDTF">2015-02-18T10:15:04Z</dcterms:created>
  <dcterms:modified xsi:type="dcterms:W3CDTF">2019-02-13T12:32:06Z</dcterms:modified>
</cp:coreProperties>
</file>